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143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1907999" y="2808000"/>
            <a:ext cx="143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3348000" y="2808000"/>
            <a:ext cx="143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